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2"/>
  </p:notesMasterIdLst>
  <p:sldIdLst>
    <p:sldId id="269" r:id="rId8"/>
    <p:sldId id="297" r:id="rId9"/>
    <p:sldId id="266" r:id="rId10"/>
    <p:sldId id="441" r:id="rId11"/>
    <p:sldId id="442" r:id="rId12"/>
    <p:sldId id="444" r:id="rId13"/>
    <p:sldId id="445" r:id="rId14"/>
    <p:sldId id="436" r:id="rId15"/>
    <p:sldId id="446" r:id="rId16"/>
    <p:sldId id="447" r:id="rId17"/>
    <p:sldId id="448" r:id="rId18"/>
    <p:sldId id="449" r:id="rId19"/>
    <p:sldId id="450" r:id="rId20"/>
    <p:sldId id="451" r:id="rId21"/>
  </p:sldIdLst>
  <p:sldSz cx="9144000" cy="6858000" type="screen4x3"/>
  <p:notesSz cx="7104063" cy="10234613"/>
  <p:custDataLst>
    <p:tags r:id="rId2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32" autoAdjust="0"/>
    <p:restoredTop sz="57380" autoAdjust="0"/>
  </p:normalViewPr>
  <p:slideViewPr>
    <p:cSldViewPr snapToObjects="1">
      <p:cViewPr varScale="1">
        <p:scale>
          <a:sx n="72" d="100"/>
          <a:sy n="72" d="100"/>
        </p:scale>
        <p:origin x="2268" y="7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67" d="100"/>
          <a:sy n="67" d="100"/>
        </p:scale>
        <p:origin x="3067"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では、</a:t>
            </a:r>
            <a:r>
              <a:rPr kumimoji="1" lang="ja-JP" altLang="en-US" dirty="0">
                <a:latin typeface="Meiryo UI" panose="020B0604030504040204" pitchFamily="50" charset="-128"/>
                <a:ea typeface="Meiryo UI" panose="020B0604030504040204" pitchFamily="50" charset="-128"/>
              </a:rPr>
              <a:t>スマートフォンを買われてから、まだあまり操作方法をよくご存じではない方を対象として、</a:t>
            </a:r>
            <a:r>
              <a:rPr kumimoji="1" lang="ja-JP" altLang="en-US" strike="noStrike" dirty="0">
                <a:latin typeface="Meiryo UI" panose="020B0604030504040204" pitchFamily="50" charset="-128"/>
                <a:ea typeface="Meiryo UI" panose="020B0604030504040204" pitchFamily="50" charset="-128"/>
              </a:rPr>
              <a:t>マップ</a:t>
            </a:r>
            <a:r>
              <a:rPr kumimoji="1" lang="ja-JP" altLang="en-US" dirty="0">
                <a:latin typeface="Meiryo UI" panose="020B0604030504040204" pitchFamily="50" charset="-128"/>
                <a:ea typeface="Meiryo UI" panose="020B0604030504040204" pitchFamily="50" charset="-128"/>
              </a:rPr>
              <a:t>の使い方のご説明を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今回ご紹介する</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でも</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も使えますが、ご自分のスマートフォンにこのアプリが入っていない方は、講座の前にアプリをインストールする必要がありますのでご承知おき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講師の皆様は、受講者の皆様が</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をご自身のスマートフォンにインストールしているかどうかを講座が始まる前に確認するようにしてください。</a:t>
            </a:r>
            <a:endParaRPr lang="en-US" altLang="ja-JP" dirty="0">
              <a:latin typeface="Meiryo UI" panose="020B0604030504040204" pitchFamily="50" charset="-128"/>
              <a:ea typeface="Meiryo UI" panose="020B0604030504040204" pitchFamily="50" charset="-128"/>
            </a:endParaRPr>
          </a:p>
          <a:p>
            <a:pPr indent="9334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6146"/>
            <a:r>
              <a:rPr lang="ja-JP" altLang="en-US" dirty="0">
                <a:latin typeface="Meiryo UI" panose="020B0604030504040204" pitchFamily="50" charset="-128"/>
                <a:ea typeface="Meiryo UI" panose="020B0604030504040204" pitchFamily="50" charset="-128"/>
              </a:rPr>
              <a:t>また、メニューの中にある①の「交通状況」タップすると、現在の交通状況を知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地図において</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緑表示の道路は、渋滞は無し</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橙色の道路は、やや渋滞</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赤色の道路は、渋滞</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ということを表示し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地図の種類」ボタンを押してメニュー画面に戻り、</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度は④の「地形」ボタンをタップしてみま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⑤のような地形図が表示されます。</a:t>
            </a:r>
            <a:endParaRPr lang="en-US" altLang="ja-JP" dirty="0">
              <a:latin typeface="Meiryo UI" panose="020B0604030504040204" pitchFamily="50" charset="-128"/>
              <a:ea typeface="Meiryo UI" panose="020B0604030504040204" pitchFamily="50" charset="-128"/>
            </a:endParaRPr>
          </a:p>
          <a:p>
            <a:pPr indent="8742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0860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5570009"/>
          </a:xfrm>
        </p:spPr>
        <p:txBody>
          <a:bodyPr/>
          <a:lstStyle/>
          <a:p>
            <a:pPr indent="96146"/>
            <a:r>
              <a:rPr lang="ja-JP" altLang="en-US" dirty="0">
                <a:latin typeface="Meiryo UI" panose="020B0604030504040204" pitchFamily="50" charset="-128"/>
                <a:ea typeface="Meiryo UI" panose="020B0604030504040204" pitchFamily="50" charset="-128"/>
              </a:rPr>
              <a:t>次に、メニューの中で①の「ストリートビュー」をタップすると目的地のあたりの風景を見ることができるので、実際に現地に行く前にどのような場所か確認することが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地図において、</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目的地付近の見たい場所をタップ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青い線の上をタップすると道路上の風景が見ら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こでその画面上の風景を上下左右にスワイプすると風景を引きずるように画像が移動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ワイプ」とは、画面に指を置いて滑らせることをいい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上の矢印をタップするとあたかも自分がその方向に移動するように風景を見ることができるという機能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後ろを振り返ったり、拡大もできますので、どうやるのか、いろいろ試してみ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例えば講座を実施している会場や、近所の有名なスポットを例に、実際にストリートビューを確認すると良いで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受講者の方が実際にストリートビューを確認する時間を確保しても良いでしょう。</a:t>
            </a:r>
          </a:p>
          <a:p>
            <a:pPr indent="8742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915627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それでは近くにある様々な施設を探してみま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目的のお店や施設の名前が分かっているのなら、①に名前を入力してタップをすると、すぐに④のように目的としたお店の概要</a:t>
            </a:r>
            <a:r>
              <a:rPr lang="ja-JP" altLang="en-US" dirty="0"/>
              <a:t>や</a:t>
            </a:r>
            <a:r>
              <a:rPr lang="ja-JP" altLang="en-US" dirty="0">
                <a:latin typeface="Meiryo UI" panose="020B0604030504040204" pitchFamily="50" charset="-128"/>
                <a:ea typeface="Meiryo UI" panose="020B0604030504040204" pitchFamily="50" charset="-128"/>
              </a:rPr>
              <a:t>地図が表示さ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目的とする施設等の名前が不明な場合は、②のように「レストラン」とか「コンビニ」等、いろいろ表示してあるアイコンの中で、今回は「レストラ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レストランの一覧が地図とリスト一覧で表示されますので、地図またはレストランの一覧の中から目的のお店をタップ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のようにそのお店の営業時間</a:t>
            </a:r>
            <a:r>
              <a:rPr lang="ja-JP" altLang="en-US" dirty="0"/>
              <a:t>や</a:t>
            </a:r>
            <a:r>
              <a:rPr lang="ja-JP" altLang="en-US" dirty="0">
                <a:latin typeface="Meiryo UI" panose="020B0604030504040204" pitchFamily="50" charset="-128"/>
                <a:ea typeface="Meiryo UI" panose="020B0604030504040204" pitchFamily="50" charset="-128"/>
              </a:rPr>
              <a:t>メニュー</a:t>
            </a:r>
            <a:r>
              <a:rPr lang="ja-JP" altLang="en-US" dirty="0"/>
              <a:t>、</a:t>
            </a:r>
            <a:r>
              <a:rPr lang="ja-JP" altLang="en-US" dirty="0">
                <a:latin typeface="Meiryo UI" panose="020B0604030504040204" pitchFamily="50" charset="-128"/>
                <a:ea typeface="Meiryo UI" panose="020B0604030504040204" pitchFamily="50" charset="-128"/>
              </a:rPr>
              <a:t>評判が表示されますので、どんなところか内容を確認することができます。</a:t>
            </a:r>
          </a:p>
          <a:p>
            <a:pPr indent="87425"/>
            <a:endParaRPr lang="ja-JP" altLang="en-US" dirty="0"/>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73193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それでは、そこまでの経路を調べま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先程の前ページの画面において「経路」というアイコ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色々な経路が出てきますが、ここで②のように、「出発地」、車や電車や徒歩などの「交通手段」、「出発（到着）時間」等が選択できますので、必要に応じてタップして探索条件を変更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現在地を違う場所に変更したり、出発日時を今日ではなく明日に変えたり、出発時間の代わりに到着時間に変更したりすることが可能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交通手段についても「車」、「電車」、「徒歩」のアイコンを選んで、タップして変更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探索条件の変更が終了したら、④でおすすめの経路を選択しタップして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25"/>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講師の皆様は、受講者の理解度を確認しながら進めて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特に、検索画面が難しいと感じる受講者がいた場合は、出発時間や交通手段はどうするか、質問を投げかけながら、一つずつ設定を行うようにご案内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また、最寄り駅のような身近な施設等を例に、実際に目的地までの経路を調べる練習問題を出しても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865814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u="none" dirty="0">
                <a:latin typeface="Meiryo UI" panose="020B0604030504040204" pitchFamily="50" charset="-128"/>
                <a:ea typeface="Meiryo UI" panose="020B0604030504040204" pitchFamily="50" charset="-128"/>
              </a:rPr>
              <a:t>前のページの画面を下にスライドし、⑤の「ナビ開始」をタップすると、これ以降移動中に音声で案内してくれます。</a:t>
            </a:r>
            <a:endParaRPr lang="en-US" altLang="ja-JP" u="none" dirty="0">
              <a:latin typeface="Meiryo UI" panose="020B0604030504040204" pitchFamily="50" charset="-128"/>
              <a:ea typeface="Meiryo UI" panose="020B0604030504040204" pitchFamily="50" charset="-128"/>
            </a:endParaRPr>
          </a:p>
          <a:p>
            <a:pPr indent="96146"/>
            <a:endParaRPr lang="ja-JP" altLang="en-US" u="none" dirty="0">
              <a:latin typeface="Meiryo UI" panose="020B0604030504040204" pitchFamily="50" charset="-128"/>
              <a:ea typeface="Meiryo UI" panose="020B0604030504040204" pitchFamily="50" charset="-128"/>
            </a:endParaRPr>
          </a:p>
          <a:p>
            <a:pPr indent="96146"/>
            <a:r>
              <a:rPr lang="ja-JP" altLang="en-US" u="none" dirty="0">
                <a:latin typeface="Meiryo UI" panose="020B0604030504040204" pitchFamily="50" charset="-128"/>
                <a:ea typeface="Meiryo UI" panose="020B0604030504040204" pitchFamily="50" charset="-128"/>
              </a:rPr>
              <a:t>またこの例の、三越前駅を降りた後に表示してある　右向きボタンを押すと、⑥のように三越前駅から目的地までの徒歩順路を指示してくれますので大変便利です。</a:t>
            </a:r>
            <a:endParaRPr lang="en-US" altLang="ja-JP" u="none" dirty="0">
              <a:latin typeface="Meiryo UI" panose="020B0604030504040204" pitchFamily="50" charset="-128"/>
              <a:ea typeface="Meiryo UI" panose="020B0604030504040204" pitchFamily="50" charset="-128"/>
            </a:endParaRPr>
          </a:p>
          <a:p>
            <a:pPr indent="96146"/>
            <a:endParaRPr lang="ja-JP" altLang="en-US" u="none" dirty="0">
              <a:latin typeface="Meiryo UI" panose="020B0604030504040204" pitchFamily="50" charset="-128"/>
              <a:ea typeface="Meiryo UI" panose="020B0604030504040204" pitchFamily="50" charset="-128"/>
            </a:endParaRPr>
          </a:p>
          <a:p>
            <a:pPr indent="96146"/>
            <a:r>
              <a:rPr lang="ja-JP" altLang="en-US" u="none" dirty="0">
                <a:latin typeface="Meiryo UI" panose="020B0604030504040204" pitchFamily="50" charset="-128"/>
                <a:ea typeface="Meiryo UI" panose="020B0604030504040204" pitchFamily="50" charset="-128"/>
              </a:rPr>
              <a:t>確認後に、画面左上にある矢印マークを押すと⑤の画面に戻れます。</a:t>
            </a:r>
          </a:p>
          <a:p>
            <a:pPr indent="96146"/>
            <a:endParaRPr lang="en-US" altLang="ja-JP" u="none" dirty="0">
              <a:latin typeface="Meiryo UI" panose="020B0604030504040204" pitchFamily="50" charset="-128"/>
              <a:ea typeface="Meiryo UI" panose="020B0604030504040204" pitchFamily="50" charset="-128"/>
            </a:endParaRPr>
          </a:p>
          <a:p>
            <a:pPr indent="96146"/>
            <a:r>
              <a:rPr lang="ja-JP" altLang="en-US" u="none" dirty="0">
                <a:latin typeface="Meiryo UI" panose="020B0604030504040204" pitchFamily="50" charset="-128"/>
                <a:ea typeface="Meiryo UI" panose="020B0604030504040204" pitchFamily="50" charset="-128"/>
              </a:rPr>
              <a:t>また、電車の乗車位置なども教えてくれるので乗り換えの時に便利です。</a:t>
            </a:r>
          </a:p>
          <a:p>
            <a:pPr indent="96146"/>
            <a:endParaRPr lang="en-US" altLang="ja-JP" u="none" dirty="0">
              <a:latin typeface="Meiryo UI" panose="020B0604030504040204" pitchFamily="50" charset="-128"/>
              <a:ea typeface="Meiryo UI" panose="020B0604030504040204" pitchFamily="50" charset="-128"/>
            </a:endParaRPr>
          </a:p>
          <a:p>
            <a:pPr indent="96146"/>
            <a:r>
              <a:rPr lang="en-US" altLang="ja-JP" u="none" dirty="0">
                <a:latin typeface="Meiryo UI" panose="020B0604030504040204" pitchFamily="50" charset="-128"/>
                <a:ea typeface="Meiryo UI" panose="020B0604030504040204" pitchFamily="50" charset="-128"/>
              </a:rPr>
              <a:t>Google </a:t>
            </a:r>
            <a:r>
              <a:rPr lang="ja-JP" altLang="en-US" u="none" dirty="0">
                <a:latin typeface="Meiryo UI" panose="020B0604030504040204" pitchFamily="50" charset="-128"/>
                <a:ea typeface="Meiryo UI" panose="020B0604030504040204" pitchFamily="50" charset="-128"/>
              </a:rPr>
              <a:t>マップを使用したマップの使い方の講座は以上となり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5845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マップの使い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本講座で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を例に地図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こでは、</a:t>
            </a:r>
            <a:r>
              <a:rPr kumimoji="1"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Map</a:t>
            </a:r>
            <a:r>
              <a:rPr kumimoji="1" lang="ja-JP" altLang="en-US" dirty="0">
                <a:latin typeface="Meiryo UI" panose="020B0604030504040204" pitchFamily="50" charset="-128"/>
                <a:ea typeface="Meiryo UI" panose="020B0604030504040204" pitchFamily="50" charset="-128"/>
              </a:rPr>
              <a:t>を例に、マップアプリの使い方をご説明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5313"/>
          </a:xfrm>
        </p:spPr>
        <p:txBody>
          <a:bodyPr/>
          <a:lstStyle/>
          <a:p>
            <a:pPr indent="96146"/>
            <a:r>
              <a:rPr lang="ja-JP" altLang="en-US" dirty="0">
                <a:latin typeface="Meiryo UI" panose="020B0604030504040204" pitchFamily="50" charset="-128"/>
                <a:ea typeface="Meiryo UI" panose="020B0604030504040204" pitchFamily="50" charset="-128"/>
              </a:rPr>
              <a:t>これからスマートフォンで利用できるマップについて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有名なものとして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のマップ等が多く使われ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近では</a:t>
            </a:r>
            <a:r>
              <a:rPr lang="en-US" altLang="ja-JP" dirty="0">
                <a:latin typeface="Meiryo UI" panose="020B0604030504040204" pitchFamily="50" charset="-128"/>
                <a:ea typeface="Meiryo UI" panose="020B0604030504040204" pitchFamily="50" charset="-128"/>
              </a:rPr>
              <a:t>Yahoo! MAP</a:t>
            </a:r>
            <a:r>
              <a:rPr lang="ja-JP" altLang="en-US" dirty="0">
                <a:latin typeface="Meiryo UI" panose="020B0604030504040204" pitchFamily="50" charset="-128"/>
                <a:ea typeface="Meiryo UI" panose="020B0604030504040204" pitchFamily="50" charset="-128"/>
              </a:rPr>
              <a:t>なども良く使われてい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既にこのスライドにあるようなアイコンがご自身のスマートフォンのホーム画面に表示されていれば、既に</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がインストールされていますので、再度のインストールは不要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インストール」とはスマートフォン等の機械の中に機能や必要なソフトを「取り込む」ことを指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近い言葉で「ダウンロード」というものもあ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さらにスマートフォンを使っていると「アップデート」という表示を見かけたことがある方も多いかと思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は取り込んである機能等の「更新」を指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他にも地図アプリが存在していること、講座では、例示として</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を取り上げているいうことをしっかり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pPr indent="96146"/>
            <a:r>
              <a:rPr kumimoji="1" lang="ja-JP" altLang="en-US" dirty="0">
                <a:latin typeface="Meiryo UI" panose="020B0604030504040204" pitchFamily="50" charset="-128"/>
                <a:ea typeface="Meiryo UI" panose="020B0604030504040204" pitchFamily="50" charset="-128"/>
              </a:rPr>
              <a:t>それでは、 </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Google Maps</a:t>
            </a:r>
            <a:r>
              <a:rPr kumimoji="1" lang="ja-JP" altLang="en-US" dirty="0">
                <a:latin typeface="Meiryo UI" panose="020B0604030504040204" pitchFamily="50" charset="-128"/>
                <a:ea typeface="Meiryo UI" panose="020B0604030504040204" pitchFamily="50" charset="-128"/>
              </a:rPr>
              <a:t>」の入手およびインストールの仕方についてです。</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をお使いの方は、既にインストールされていますので、ホーム画面上をお探しください。</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手順ですが、</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①スマートフォンの電源を入れ、</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アップストア）をタップしてください。</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②次に検索をタップしてください。</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③検索文章の入力箇所に「グーグルマップ」と入力し、検索します。</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⑤「</a:t>
            </a:r>
            <a:r>
              <a:rPr kumimoji="1" lang="en-US" altLang="ja-JP" dirty="0">
                <a:latin typeface="Meiryo UI" panose="020B0604030504040204" pitchFamily="50" charset="-128"/>
                <a:ea typeface="Meiryo UI" panose="020B0604030504040204" pitchFamily="50" charset="-128"/>
              </a:rPr>
              <a:t>Google </a:t>
            </a:r>
            <a:r>
              <a:rPr kumimoji="1" lang="ja-JP" altLang="en-US" dirty="0">
                <a:latin typeface="Meiryo UI" panose="020B0604030504040204" pitchFamily="50" charset="-128"/>
                <a:ea typeface="Meiryo UI" panose="020B0604030504040204" pitchFamily="50" charset="-128"/>
              </a:rPr>
              <a:t>マップ」アプリをインストールするかどうかの画面が表示されますので、「入手」のところをタップしてください。インストールが始まります。</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既にインストールされている方は「入手」の代わりに「開く」か「アップデート」の表示となります。</a:t>
            </a:r>
          </a:p>
          <a:p>
            <a:pPr indent="96146"/>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46"/>
            <a:endParaRPr kumimoji="1" lang="en-US" altLang="ja-JP"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講師の皆様は、受講者の皆様が問題なくアプリをインストール出来ているかを確認してから、先に進め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893219"/>
            <a:ext cx="5793952" cy="5309205"/>
          </a:xfrm>
        </p:spPr>
        <p:txBody>
          <a:bodyPr/>
          <a:lstStyle/>
          <a:p>
            <a:pPr indent="96146"/>
            <a:r>
              <a:rPr lang="ja-JP" altLang="en-US" dirty="0">
                <a:latin typeface="Meiryo UI" panose="020B0604030504040204" pitchFamily="50" charset="-128"/>
                <a:ea typeface="Meiryo UI" panose="020B0604030504040204" pitchFamily="50" charset="-128"/>
              </a:rPr>
              <a:t>まず</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講座を始める前に位置情報の設定が出来ているか確認を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ホーム画面上で①の「設定」アイコン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設定の画面が出ましたら「位置情報」を探して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かなり下の方にある場合は下から上に画面をスライドしていくと見つかるかと思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見つからない場合は設定項目の検索ができ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位置情報」を押すと詳細が出ますので④のように画面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ボタンに色がついていればＯＫ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なっていなければ、ボタンを押してＯＮに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位置情報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を確認してから進め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の機種によっては、「位置情報」が表示される場所が異なる可能性が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場合は、設定の右側にある検索を押し、「位置情報」と入力するようにご案内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937968" cy="5088441"/>
          </a:xfrm>
        </p:spPr>
        <p:txBody>
          <a:bodyPr/>
          <a:lstStyle/>
          <a:p>
            <a:pPr indent="96146" defTabSz="954820">
              <a:defRPr/>
            </a:pPr>
            <a:r>
              <a:rPr lang="en-US" altLang="ja-JP" dirty="0"/>
              <a:t>iPhone</a:t>
            </a:r>
            <a:r>
              <a:rPr lang="ja-JP" altLang="en-US" dirty="0"/>
              <a:t>の場合です。</a:t>
            </a:r>
            <a:endParaRPr lang="en-US" altLang="ja-JP" dirty="0"/>
          </a:p>
          <a:p>
            <a:pPr indent="96146" defTabSz="954820">
              <a:defRPr/>
            </a:pPr>
            <a:endParaRPr lang="en-US" altLang="ja-JP" dirty="0"/>
          </a:p>
          <a:p>
            <a:pPr indent="96146" defTabSz="954820">
              <a:defRPr/>
            </a:pPr>
            <a:r>
              <a:rPr lang="ja-JP" altLang="en-US" dirty="0"/>
              <a:t>ホーム画面上で①の「設定」をタップしてください。</a:t>
            </a:r>
            <a:endParaRPr lang="en-US" altLang="ja-JP" dirty="0"/>
          </a:p>
          <a:p>
            <a:pPr indent="96146" defTabSz="954820">
              <a:defRPr/>
            </a:pPr>
            <a:endParaRPr lang="en-US" altLang="ja-JP" dirty="0"/>
          </a:p>
          <a:p>
            <a:pPr indent="96146" defTabSz="954820">
              <a:defRPr/>
            </a:pPr>
            <a:r>
              <a:rPr lang="ja-JP" altLang="en-US" dirty="0"/>
              <a:t>②設定の画面が出ましたら「</a:t>
            </a:r>
            <a:r>
              <a:rPr lang="en-US" altLang="ja-JP" dirty="0"/>
              <a:t>Google Maps</a:t>
            </a:r>
            <a:r>
              <a:rPr lang="ja-JP" altLang="en-US" dirty="0"/>
              <a:t>」をタップしてください。</a:t>
            </a:r>
            <a:endParaRPr lang="en-US" altLang="ja-JP" dirty="0"/>
          </a:p>
          <a:p>
            <a:pPr indent="96146" defTabSz="954820">
              <a:defRPr/>
            </a:pPr>
            <a:endParaRPr lang="en-US" altLang="ja-JP" dirty="0"/>
          </a:p>
          <a:p>
            <a:pPr indent="96146" defTabSz="954820">
              <a:defRPr/>
            </a:pPr>
            <a:r>
              <a:rPr lang="ja-JP" altLang="en-US" dirty="0"/>
              <a:t>③「位置情報」をタップしてください。</a:t>
            </a:r>
            <a:endParaRPr lang="en-US" altLang="ja-JP" dirty="0"/>
          </a:p>
          <a:p>
            <a:pPr indent="96146" defTabSz="954820">
              <a:defRPr/>
            </a:pPr>
            <a:endParaRPr lang="en-US" altLang="ja-JP" dirty="0"/>
          </a:p>
          <a:p>
            <a:pPr indent="96146" defTabSz="954820">
              <a:defRPr/>
            </a:pPr>
            <a:r>
              <a:rPr lang="ja-JP" altLang="en-US" dirty="0"/>
              <a:t>④</a:t>
            </a:r>
            <a:r>
              <a:rPr lang="ja-JP" altLang="en-US" kern="100" dirty="0">
                <a:cs typeface="Times New Roman" panose="02020603050405020304" pitchFamily="18" charset="0"/>
              </a:rPr>
              <a:t>「この</a:t>
            </a:r>
            <a:r>
              <a:rPr lang="en-US" altLang="ja-JP" kern="100" dirty="0">
                <a:cs typeface="Times New Roman" panose="02020603050405020304" pitchFamily="18" charset="0"/>
              </a:rPr>
              <a:t>App</a:t>
            </a:r>
            <a:r>
              <a:rPr lang="ja-JP" altLang="en-US" kern="100" dirty="0">
                <a:cs typeface="Times New Roman" panose="02020603050405020304" pitchFamily="18" charset="0"/>
              </a:rPr>
              <a:t>の使用中のみ許可」もしくは「常に」を選択してください。</a:t>
            </a:r>
            <a:endParaRPr lang="en-US" altLang="ja-JP" kern="100" dirty="0">
              <a:cs typeface="Times New Roman" panose="02020603050405020304" pitchFamily="18" charset="0"/>
            </a:endParaRPr>
          </a:p>
          <a:p>
            <a:pPr indent="97798" defTabSz="9548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937968" cy="5088441"/>
          </a:xfrm>
        </p:spPr>
        <p:txBody>
          <a:bodyPr/>
          <a:lstStyle/>
          <a:p>
            <a:pPr indent="96146"/>
            <a:r>
              <a:rPr lang="ja-JP" altLang="en-US" dirty="0">
                <a:latin typeface="Meiryo UI" panose="020B0604030504040204" pitchFamily="50" charset="-128"/>
                <a:ea typeface="Meiryo UI" panose="020B0604030504040204" pitchFamily="50" charset="-128"/>
              </a:rPr>
              <a:t>それではマップの使い方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画面上で①の「</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マーク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に自分が今いるあたりの地図が画面に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画面において③のように画面上を親指と人差し指を閉じた状態から広げると画面を拡大することが出来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反対に広げた状態から閉じるように画面をスライドすると地図は縮小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指で上下左右にスライドすることにより、画面の中の地図を引きずるように移動させることが出来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指の間隔を拡げるように動かして画面を大きくする方（拡大）を、ピンチアウト</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指の間隔を狭めるように動かして画面を小さくする方（縮小）を、ピンチイン　といい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ここから実際の操作方法に入りますので、受講者の理解度を見ながら進めるように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受講者がピンチアウトやピンチインのような操作に慣れていない可能性もありますので、操作に慣れるために、一定の時間を設けて、実践してもらうと良いでしょう。</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5313"/>
          </a:xfrm>
        </p:spPr>
        <p:txBody>
          <a:bodyPr/>
          <a:lstStyle/>
          <a:p>
            <a:pPr indent="96146"/>
            <a:r>
              <a:rPr lang="ja-JP" altLang="en-US" dirty="0">
                <a:latin typeface="Meiryo UI" panose="020B0604030504040204" pitchFamily="50" charset="-128"/>
                <a:ea typeface="Meiryo UI" panose="020B0604030504040204" pitchFamily="50" charset="-128"/>
              </a:rPr>
              <a:t>次に、この地図は航空写真の表示に変更することが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の書類を積み重ねたような「地図の種類」アイコ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に重なってメニュー画面が表示されますので、②の「航空写真」をタップしてみてください。航空写真が表示さ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ページでの説明のように「ピンチアウト」（画面に触れながら親指と人差し指の間隔を開く）してゆくと、どんどん画面が大きくな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をタップするともとのメニュー画面に戻りますので、ここで④の「デフォルト」をタップすればもとの地図表示にな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地図とか航空写真の画面表示の上には「レストラン」とか「コンビニ」とかのアイコンが有りますので、これをタップすれば付近にあるレストランやコンビニ等の情報を知ることができ、大変便利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講師の皆様は、航空写真に切り替えることにより、実際の画像に近くなることをご説明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410AF14-372A-ADB6-4B4B-E3B7DE69DA9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6B32010E-353E-E6C1-D9E9-783693C9A07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20177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FF693ED5-9727-86B9-6082-60C2408E4A7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0590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FEEEF87-D7BC-FE3A-5593-D075CCA5107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380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4DB7F4A-D8CC-4447-715C-CEB85FC3451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73393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5ED48A0-3CC7-50D8-B93F-D71B329DE05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28364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013FBD9-5968-1ECB-BABB-105B966C07B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4527068-D137-1FE6-28A3-E6971DBF6B2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a:extLst>
              <a:ext uri="{FF2B5EF4-FFF2-40B4-BE49-F238E27FC236}">
                <a16:creationId xmlns:a16="http://schemas.microsoft.com/office/drawing/2014/main" id="{FA31BD1E-2472-EB6D-54E8-E6807823662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F129A489-4A71-B249-3582-6657D5B930D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1175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31F0DFB2-080D-0E24-1FD9-9CA76DB4452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7515D914-5456-79FC-CD1B-872D19B0FDD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9F5E2F86-90EE-9A21-E822-BD9D7020CEA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2B9F6406-EE0B-E304-64E6-7232A2074EC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201</Words>
  <Application>Microsoft Office PowerPoint</Application>
  <PresentationFormat>画面に合わせる (4:3)</PresentationFormat>
  <Paragraphs>226</Paragraphs>
  <Slides>14</Slides>
  <Notes>14</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6"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